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364" r:id="rId4"/>
  </p:sldMasterIdLst>
  <p:notesMasterIdLst>
    <p:notesMasterId r:id="rId12"/>
  </p:notesMasterIdLst>
  <p:handoutMasterIdLst>
    <p:handoutMasterId r:id="rId13"/>
  </p:handoutMasterIdLst>
  <p:sldIdLst>
    <p:sldId id="332" r:id="rId5"/>
    <p:sldId id="2534" r:id="rId6"/>
    <p:sldId id="2528" r:id="rId7"/>
    <p:sldId id="2529" r:id="rId8"/>
    <p:sldId id="2530" r:id="rId9"/>
    <p:sldId id="2536" r:id="rId10"/>
    <p:sldId id="2488" r:id="rId11"/>
  </p:sldIdLst>
  <p:sldSz cx="9144000" cy="5143500" type="screen16x9"/>
  <p:notesSz cx="6797675" cy="9926638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96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Microsoft Office User" initials="MO" lastIdx="1" clrIdx="6">
    <p:extLst>
      <p:ext uri="{19B8F6BF-5375-455C-9EA6-DF929625EA0E}">
        <p15:presenceInfo xmlns:p15="http://schemas.microsoft.com/office/powerpoint/2012/main" userId="Microsoft Office User" providerId="None"/>
      </p:ext>
    </p:extLst>
  </p:cmAuthor>
  <p:cmAuthor id="1" name="Poole, Markus" initials="PM" lastIdx="9" clrIdx="0"/>
  <p:cmAuthor id="8" name="Martens, Marije" initials="MM" lastIdx="4" clrIdx="7">
    <p:extLst>
      <p:ext uri="{19B8F6BF-5375-455C-9EA6-DF929625EA0E}">
        <p15:presenceInfo xmlns:p15="http://schemas.microsoft.com/office/powerpoint/2012/main" userId="S::marije.martens@edelman.com::0d81ea16-7b2e-4af4-99e1-a8533fe21898" providerId="AD"/>
      </p:ext>
    </p:extLst>
  </p:cmAuthor>
  <p:cmAuthor id="2" name="Belcher, Amanda" initials="BA" lastIdx="28" clrIdx="1"/>
  <p:cmAuthor id="9" name="Manojlovic, Ognjenka" initials="MO" lastIdx="5" clrIdx="8">
    <p:extLst>
      <p:ext uri="{19B8F6BF-5375-455C-9EA6-DF929625EA0E}">
        <p15:presenceInfo xmlns:p15="http://schemas.microsoft.com/office/powerpoint/2012/main" userId="S::Ognjenka.Manojlovic@edelman.com::f8e8734c-c7f4-40ab-be62-a2496c36fb47" providerId="AD"/>
      </p:ext>
    </p:extLst>
  </p:cmAuthor>
  <p:cmAuthor id="3" name="Pruneda, Olalla" initials="PO" lastIdx="86" clrIdx="2"/>
  <p:cmAuthor id="10" name="Paulina Gono" initials="PG" lastIdx="12" clrIdx="9">
    <p:extLst>
      <p:ext uri="{19B8F6BF-5375-455C-9EA6-DF929625EA0E}">
        <p15:presenceInfo xmlns:p15="http://schemas.microsoft.com/office/powerpoint/2012/main" userId="S::paulina.gono@ecpc.org::89cbb809-a8bd-44d2-8dab-61e9df6ae61b" providerId="AD"/>
      </p:ext>
    </p:extLst>
  </p:cmAuthor>
  <p:cmAuthor id="4" name="Shaddock, Hampton /US" initials="SH/" lastIdx="11" clrIdx="3"/>
  <p:cmAuthor id="11" name="Antonella Cardone" initials="AC" lastIdx="1" clrIdx="10">
    <p:extLst>
      <p:ext uri="{19B8F6BF-5375-455C-9EA6-DF929625EA0E}">
        <p15:presenceInfo xmlns:p15="http://schemas.microsoft.com/office/powerpoint/2012/main" userId="S::antonella.cardone@ecpc.org::7485a7e3-4aab-4fbf-82bd-af277e9740d2" providerId="AD"/>
      </p:ext>
    </p:extLst>
  </p:cmAuthor>
  <p:cmAuthor id="5" name="Brar, Gurpreet" initials="BG" lastIdx="5" clrIdx="4">
    <p:extLst>
      <p:ext uri="{19B8F6BF-5375-455C-9EA6-DF929625EA0E}">
        <p15:presenceInfo xmlns:p15="http://schemas.microsoft.com/office/powerpoint/2012/main" userId="S::Gurpreet.Brar@edelman.com::2d617f95-c7ce-438f-9b6c-d4554c5eac92" providerId="AD"/>
      </p:ext>
    </p:extLst>
  </p:cmAuthor>
  <p:cmAuthor id="6" name="Emslie, Rowan" initials="ER" lastIdx="5" clrIdx="5">
    <p:extLst>
      <p:ext uri="{19B8F6BF-5375-455C-9EA6-DF929625EA0E}">
        <p15:presenceInfo xmlns:p15="http://schemas.microsoft.com/office/powerpoint/2012/main" userId="S::Rowan.Emslie@edelman.com::7e07ddb0-4b60-4b10-9ec2-80f8fb52817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F6F"/>
    <a:srgbClr val="B71C86"/>
    <a:srgbClr val="014D89"/>
    <a:srgbClr val="B1D136"/>
    <a:srgbClr val="B2D136"/>
    <a:srgbClr val="86ABD8"/>
    <a:srgbClr val="F5F6F7"/>
    <a:srgbClr val="D60000"/>
    <a:srgbClr val="A9AC12"/>
    <a:srgbClr val="5C514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4" autoAdjust="0"/>
    <p:restoredTop sz="94635" autoAdjust="0"/>
  </p:normalViewPr>
  <p:slideViewPr>
    <p:cSldViewPr snapToGrid="0">
      <p:cViewPr varScale="1">
        <p:scale>
          <a:sx n="107" d="100"/>
          <a:sy n="107" d="100"/>
        </p:scale>
        <p:origin x="876" y="102"/>
      </p:cViewPr>
      <p:guideLst>
        <p:guide orient="horz" pos="1596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2953" tIns="46477" rIns="92953" bIns="46477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5" y="0"/>
            <a:ext cx="2945659" cy="496332"/>
          </a:xfrm>
          <a:prstGeom prst="rect">
            <a:avLst/>
          </a:prstGeom>
        </p:spPr>
        <p:txBody>
          <a:bodyPr vert="horz" lIns="92953" tIns="46477" rIns="92953" bIns="46477" rtlCol="0"/>
          <a:lstStyle>
            <a:lvl1pPr algn="r">
              <a:defRPr sz="1200"/>
            </a:lvl1pPr>
          </a:lstStyle>
          <a:p>
            <a:fld id="{3B4410A5-2F4E-40D2-B77A-4A8028A60353}" type="datetimeFigureOut">
              <a:rPr lang="en-US" smtClean="0"/>
              <a:t>4/13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2953" tIns="46477" rIns="92953" bIns="46477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5" y="9428584"/>
            <a:ext cx="2945659" cy="496332"/>
          </a:xfrm>
          <a:prstGeom prst="rect">
            <a:avLst/>
          </a:prstGeom>
        </p:spPr>
        <p:txBody>
          <a:bodyPr vert="horz" lIns="92953" tIns="46477" rIns="92953" bIns="46477" rtlCol="0" anchor="b"/>
          <a:lstStyle>
            <a:lvl1pPr algn="r">
              <a:defRPr sz="1200"/>
            </a:lvl1pPr>
          </a:lstStyle>
          <a:p>
            <a:fld id="{D094666F-7EA7-467A-9BF5-8EF32FC28D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8024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2953" tIns="46477" rIns="92953" bIns="46477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5" y="0"/>
            <a:ext cx="2945659" cy="496332"/>
          </a:xfrm>
          <a:prstGeom prst="rect">
            <a:avLst/>
          </a:prstGeom>
        </p:spPr>
        <p:txBody>
          <a:bodyPr vert="horz" lIns="92953" tIns="46477" rIns="92953" bIns="46477" rtlCol="0"/>
          <a:lstStyle>
            <a:lvl1pPr algn="r">
              <a:defRPr sz="1200"/>
            </a:lvl1pPr>
          </a:lstStyle>
          <a:p>
            <a:fld id="{C6C9A126-DCAE-4226-ACE1-E3772840D0A7}" type="datetimeFigureOut">
              <a:rPr lang="en-US" smtClean="0"/>
              <a:t>4/13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2950"/>
            <a:ext cx="6616700" cy="37226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953" tIns="46477" rIns="92953" bIns="46477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5"/>
            <a:ext cx="5438140" cy="4466987"/>
          </a:xfrm>
          <a:prstGeom prst="rect">
            <a:avLst/>
          </a:prstGeom>
        </p:spPr>
        <p:txBody>
          <a:bodyPr vert="horz" lIns="92953" tIns="46477" rIns="92953" bIns="46477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2953" tIns="46477" rIns="92953" bIns="46477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5" y="9428584"/>
            <a:ext cx="2945659" cy="496332"/>
          </a:xfrm>
          <a:prstGeom prst="rect">
            <a:avLst/>
          </a:prstGeom>
        </p:spPr>
        <p:txBody>
          <a:bodyPr vert="horz" lIns="92953" tIns="46477" rIns="92953" bIns="46477" rtlCol="0" anchor="b"/>
          <a:lstStyle>
            <a:lvl1pPr algn="r">
              <a:defRPr sz="1200"/>
            </a:lvl1pPr>
          </a:lstStyle>
          <a:p>
            <a:fld id="{01A3488C-3FC0-4C8D-BE4B-1342EE0AB9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79427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A3488C-3FC0-4C8D-BE4B-1342EE0AB9A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1299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506413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l-GR" dirty="0"/>
              <a:t>Η Ευρωπαϊκή Συμμαχία κατά του καρκίνου είναι η μεγαλύτερη </a:t>
            </a:r>
            <a:r>
              <a:rPr lang="el-GR" dirty="0" err="1"/>
              <a:t>Ευρωπαίκή</a:t>
            </a:r>
            <a:r>
              <a:rPr lang="el-GR" dirty="0"/>
              <a:t> οργάνωση ασθενών με καρκίνο. </a:t>
            </a:r>
            <a:r>
              <a:rPr lang="el-GR" dirty="0" err="1"/>
              <a:t>Ιδρυθηκε</a:t>
            </a:r>
            <a:r>
              <a:rPr lang="el-GR" dirty="0"/>
              <a:t> το 2003 και έχει περισσότερα από ΄450 μέλη στις 27 χώρες της ΕΕ και εκτός. </a:t>
            </a:r>
          </a:p>
          <a:p>
            <a:endParaRPr lang="el-GR" dirty="0"/>
          </a:p>
          <a:p>
            <a:r>
              <a:rPr lang="el-GR" dirty="0"/>
              <a:t>Στην </a:t>
            </a:r>
            <a:r>
              <a:rPr lang="en-US" dirty="0"/>
              <a:t>ECPC </a:t>
            </a:r>
            <a:r>
              <a:rPr lang="el-GR" dirty="0"/>
              <a:t>συνηγορούμε για την αναγνώριση των ασθενών ως ισότιμων εταίρων και συν-δημιουργών  της υγείας τους.</a:t>
            </a:r>
          </a:p>
          <a:p>
            <a:endParaRPr lang="el-GR" dirty="0"/>
          </a:p>
          <a:p>
            <a:r>
              <a:rPr lang="el-GR" dirty="0"/>
              <a:t>Εργαζόμαστε για μια </a:t>
            </a:r>
            <a:r>
              <a:rPr lang="el-GR" dirty="0" err="1"/>
              <a:t>Ευρωπη</a:t>
            </a:r>
            <a:r>
              <a:rPr lang="el-GR" dirty="0"/>
              <a:t> ισότητας, όπου </a:t>
            </a:r>
            <a:r>
              <a:rPr lang="el-GR" dirty="0" err="1"/>
              <a:t>ολοι</a:t>
            </a:r>
            <a:r>
              <a:rPr lang="el-GR" dirty="0"/>
              <a:t> οι Ευρωπαίοι με καρκίνο θα έχουν έγκαιρη και οικονομικά προσιτή πρόσβαση σε άριστη ογκολογική </a:t>
            </a:r>
            <a:r>
              <a:rPr lang="el-GR" dirty="0" err="1"/>
              <a:t>περιθαλψη</a:t>
            </a:r>
            <a:r>
              <a:rPr lang="el-GR" dirty="0"/>
              <a:t> και φροντίδα, </a:t>
            </a:r>
            <a:r>
              <a:rPr lang="el-GR" dirty="0" err="1"/>
              <a:t>καθ</a:t>
            </a:r>
            <a:r>
              <a:rPr lang="el-GR" dirty="0"/>
              <a:t> όλη τη διάρκεια της ζωής τους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A3488C-3FC0-4C8D-BE4B-1342EE0AB9AF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88552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36917" y="1440874"/>
            <a:ext cx="7511201" cy="1628320"/>
          </a:xfrm>
        </p:spPr>
        <p:txBody>
          <a:bodyPr/>
          <a:lstStyle>
            <a:lvl1pPr algn="ctr">
              <a:defRPr sz="52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fr-FR" noProof="0"/>
              <a:t>Click to edit Master title style</a:t>
            </a:r>
          </a:p>
        </p:txBody>
      </p:sp>
      <p:sp>
        <p:nvSpPr>
          <p:cNvPr id="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44537" y="2814028"/>
            <a:ext cx="7498500" cy="102295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 typeface="Verdana" pitchFamily="34" charset="0"/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fr-FR" noProof="0"/>
              <a:t>Click to edit Master sub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7B26D36-5288-40F7-93DF-1E934B94B7D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b="1"/>
              <a:t>European Cancer Patient Coalition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CA27F8C-A2A9-44E8-9121-90967FCDDE0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0075A0D-1D53-4B86-B742-819DB7EDAA6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70192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Side Text Picture Ta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2" y="0"/>
            <a:ext cx="3190460" cy="5143500"/>
          </a:xfrm>
          <a:prstGeom prst="rect">
            <a:avLst/>
          </a:prstGeom>
          <a:solidFill>
            <a:srgbClr val="014D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09651" y="508350"/>
            <a:ext cx="2423001" cy="385791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3200" baseline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AD8C61-8DA7-43BF-8210-13C66EC505D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b="1"/>
              <a:t>European Cancer Patient Coalition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D1BD726-F711-4441-8059-F0246045A28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0075A0D-1D53-4B86-B742-819DB7EDAA6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87899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28700"/>
            <a:ext cx="8229600" cy="3771900"/>
          </a:xfrm>
          <a:prstGeom prst="rect">
            <a:avLst/>
          </a:prstGeom>
        </p:spPr>
        <p:txBody>
          <a:bodyPr/>
          <a:lstStyle>
            <a:lvl1pPr marL="225425" marR="0" indent="-225425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DB5D06"/>
              </a:buClr>
              <a:buSzPct val="125000"/>
              <a:buFont typeface="Arial" pitchFamily="34" charset="0"/>
              <a:buChar char="•"/>
              <a:tabLst/>
              <a:defRPr/>
            </a:lvl1pPr>
            <a:lvl2pPr marL="457200" marR="0" indent="-231775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0A100"/>
              </a:buClr>
              <a:buSzTx/>
              <a:buFont typeface="Arial" pitchFamily="34" charset="0"/>
              <a:buChar char="−"/>
              <a:tabLst/>
              <a:defRPr/>
            </a:lvl2pPr>
            <a:lvl3pPr marL="685800" marR="0" indent="-22860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0A100"/>
              </a:buClr>
              <a:buSzPct val="110000"/>
              <a:buFont typeface="Arial" pitchFamily="34" charset="0"/>
              <a:buChar char="−"/>
              <a:tabLst/>
              <a:defRPr/>
            </a:lvl3pPr>
            <a:lvl4pPr marL="914400" marR="0" indent="-22860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0A100"/>
              </a:buClr>
              <a:buSzTx/>
              <a:buFont typeface="Arial" pitchFamily="34" charset="0"/>
              <a:buChar char="−"/>
              <a:tabLst/>
              <a:defRPr/>
            </a:lvl4pPr>
            <a:lvl5pPr marL="1143000" marR="0" indent="-22860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0A100"/>
              </a:buClr>
              <a:buSzPct val="75000"/>
              <a:buFont typeface="Arial" pitchFamily="34" charset="0"/>
              <a:buChar char="−"/>
              <a:tabLst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57200" y="201930"/>
            <a:ext cx="8229600" cy="6172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C2F0B36-7D0C-4283-A261-580272335E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b="1"/>
              <a:t>European Cancer Patient Coalition</a:t>
            </a:r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E477449-CDA4-460B-BEC0-EBBCB14121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0075A0D-1D53-4B86-B742-819DB7EDAA6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7947093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0050" y="236220"/>
            <a:ext cx="8343900" cy="582930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21D58E9-7B52-4999-9382-59322A4E479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b="1"/>
              <a:t>European Cancer Patient Coalition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36A00D-0D56-4486-9EE8-61F061A3CA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0075A0D-1D53-4B86-B742-819DB7EDAA6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270760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osing Slide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66341E-BB61-4F43-8AB0-597A3F7A18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b="1"/>
              <a:t>European Cancer Patient Coalition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49383ED-231A-46CE-9558-7C57BE73AE9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0075A0D-1D53-4B86-B742-819DB7EDAA6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942683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09608" y="873387"/>
            <a:ext cx="8308975" cy="37557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E6F574-17BA-48DD-BFE8-0344FBC6E55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b="1"/>
              <a:t>European Cancer Patient Coalition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00ECD2-917F-48C7-8E39-A08E68CCB62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0075A0D-1D53-4B86-B742-819DB7EDAA6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6159584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ide Text Picture Magent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61030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0"/>
            <a:ext cx="4525963" cy="5143500"/>
          </a:xfrm>
          <a:prstGeom prst="rect">
            <a:avLst/>
          </a:prstGeom>
          <a:solidFill>
            <a:srgbClr val="86AB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09651" y="508350"/>
            <a:ext cx="3706978" cy="3857910"/>
          </a:xfrm>
          <a:prstGeom prst="rect">
            <a:avLst/>
          </a:prstGeom>
          <a:effectLst/>
        </p:spPr>
        <p:txBody>
          <a:bodyPr>
            <a:normAutofit/>
          </a:bodyPr>
          <a:lstStyle>
            <a:lvl1pPr algn="ctr">
              <a:defRPr sz="3200" baseline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DA2E70A-2E58-4C23-82CC-539E6A1B8D6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b="1"/>
              <a:t>European Cancer Patient Coalition</a:t>
            </a:r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4E958C9-B2D3-4585-B4FA-F961AD41135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0075A0D-1D53-4B86-B742-819DB7EDAA6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0642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ide Text Picture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96594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0"/>
            <a:ext cx="4525963" cy="5143500"/>
          </a:xfrm>
          <a:prstGeom prst="rect">
            <a:avLst/>
          </a:prstGeom>
          <a:solidFill>
            <a:srgbClr val="014D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09651" y="508350"/>
            <a:ext cx="3706978" cy="385791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3200" baseline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622C93B-DDE7-457C-AE16-CBB661139C7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b="1"/>
              <a:t>European Cancer Patient Coalition</a:t>
            </a:r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6AB8BCB-0804-4C3D-9AD1-13002C8270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0075A0D-1D53-4B86-B742-819DB7EDAA6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93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Side Text Pictur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36942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0"/>
            <a:ext cx="4525963" cy="5143500"/>
          </a:xfrm>
          <a:prstGeom prst="rect">
            <a:avLst/>
          </a:prstGeom>
          <a:solidFill>
            <a:srgbClr val="B2D1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09651" y="508350"/>
            <a:ext cx="3706978" cy="385791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3200" baseline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C93D6D5-99F7-4ED9-B991-60694F15200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b="1"/>
              <a:t>European Cancer Patient Coalition</a:t>
            </a:r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085004A-7586-444F-82CC-985693BE34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0075A0D-1D53-4B86-B742-819DB7EDAA6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987890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Side Text Picture Ta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48566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0"/>
            <a:ext cx="4525963" cy="5143500"/>
          </a:xfrm>
          <a:prstGeom prst="rect">
            <a:avLst/>
          </a:prstGeom>
          <a:solidFill>
            <a:srgbClr val="014D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09651" y="508350"/>
            <a:ext cx="3706978" cy="385791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3200" baseline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1107DC8-1E0A-48AC-A6CA-AB1D1E55E2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b="1"/>
              <a:t>European Cancer Patient Coalition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9313819-32AA-4404-AE59-D762F5800F3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0075A0D-1D53-4B86-B742-819DB7EDAA6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99595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losing Slide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9FD649-3FAD-4D36-B298-8A1811FA4E5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b="1"/>
              <a:t>European Cancer Patient Coalition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2C78670-D407-417D-900D-2CA5D996B8A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0075A0D-1D53-4B86-B742-819DB7EDAA6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988320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089" y="1632348"/>
            <a:ext cx="6461125" cy="1102519"/>
          </a:xfrm>
        </p:spPr>
        <p:txBody>
          <a:bodyPr/>
          <a:lstStyle>
            <a:lvl1pPr algn="ctr">
              <a:defRPr sz="4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fr-FR" noProof="0"/>
              <a:t>Click to edit Master title style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3075385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Font typeface="Verdana" pitchFamily="34" charset="0"/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fr-FR" noProof="0"/>
              <a:t>Click to edit Master sub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DA38643-B8BB-4ADA-8A40-4793CC31028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b="1"/>
              <a:t>European Cancer Patient Coalition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B1088E-785F-46C5-8EE2-41C3392AD57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0075A0D-1D53-4B86-B742-819DB7EDAA6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801130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4"/>
          <p:cNvSpPr>
            <a:spLocks noGrp="1"/>
          </p:cNvSpPr>
          <p:nvPr>
            <p:ph type="title"/>
          </p:nvPr>
        </p:nvSpPr>
        <p:spPr>
          <a:xfrm>
            <a:off x="457200" y="285750"/>
            <a:ext cx="8229600" cy="54927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algn="ctr">
              <a:defRPr/>
            </a:lvl1pPr>
          </a:lstStyle>
          <a:p>
            <a:pPr marL="0" lvl="0" indent="0" algn="l">
              <a:spcBef>
                <a:spcPct val="20000"/>
              </a:spcBef>
              <a:buFont typeface="Arial" pitchFamily="34" charset="0"/>
            </a:pPr>
            <a:r>
              <a:rPr lang="en-US"/>
              <a:t>Click to edit Master title sty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34971742-9E7B-4B41-8D50-0AEB4CBE77A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b="1"/>
              <a:t>European Cancer Patient Coalition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D2E1B27-0D19-4C5C-8171-10DD6272AF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0075A0D-1D53-4B86-B742-819DB7EDAA6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639618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2" y="1096496"/>
            <a:ext cx="2235200" cy="933450"/>
          </a:xfrm>
          <a:prstGeom prst="rect">
            <a:avLst/>
          </a:prstGeom>
        </p:spPr>
        <p:txBody>
          <a:bodyPr/>
          <a:lstStyle>
            <a:lvl1pPr algn="l">
              <a:defRPr baseline="0"/>
            </a:lvl1pPr>
          </a:lstStyle>
          <a:p>
            <a:pPr lvl="0"/>
            <a:r>
              <a:rPr lang="en-US"/>
              <a:t>Blue Statement</a:t>
            </a:r>
          </a:p>
        </p:txBody>
      </p:sp>
      <p:sp>
        <p:nvSpPr>
          <p:cNvPr id="4" name="Title Placeholder 4"/>
          <p:cNvSpPr>
            <a:spLocks noGrp="1"/>
          </p:cNvSpPr>
          <p:nvPr>
            <p:ph type="title"/>
          </p:nvPr>
        </p:nvSpPr>
        <p:spPr>
          <a:xfrm>
            <a:off x="457200" y="285750"/>
            <a:ext cx="8229600" cy="54927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algn="ctr">
              <a:defRPr/>
            </a:lvl1pPr>
          </a:lstStyle>
          <a:p>
            <a:pPr marL="0" lvl="0" indent="0" algn="l">
              <a:spcBef>
                <a:spcPct val="20000"/>
              </a:spcBef>
              <a:buFont typeface="Arial" pitchFamily="34" charset="0"/>
            </a:pPr>
            <a:r>
              <a:rPr lang="en-US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69AA7E-E4BD-44DD-B148-25D72C20D7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b="1"/>
              <a:t>European Cancer Patient Coalition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D0887AA-1960-47C3-9E89-8F7060427A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75A0D-1D53-4B86-B742-819DB7EDAA6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840243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089" y="1632348"/>
            <a:ext cx="6461125" cy="1102519"/>
          </a:xfrm>
        </p:spPr>
        <p:txBody>
          <a:bodyPr/>
          <a:lstStyle>
            <a:lvl1pPr>
              <a:defRPr sz="4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fr-FR" noProof="0"/>
              <a:t>Click to edit Master title style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3075385"/>
            <a:ext cx="6400800" cy="1314450"/>
          </a:xfrm>
          <a:prstGeom prst="rect">
            <a:avLst/>
          </a:prstGeom>
        </p:spPr>
        <p:txBody>
          <a:bodyPr/>
          <a:lstStyle>
            <a:lvl1pPr marL="0" indent="0">
              <a:buFont typeface="Verdana" pitchFamily="34" charset="0"/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fr-FR" noProof="0"/>
              <a:t>Click to edit Master sub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3E71810-9B06-4D27-9790-A6AE8B34454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b="1"/>
              <a:t>European Cancer Patient Coalition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D84ABE-F42F-4821-9D4C-F298FDCBA2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0075A0D-1D53-4B86-B742-819DB7EDAA6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446454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ABE5B06-BDE8-41F0-A3BD-2C4297207AD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b="1"/>
              <a:t>European Cancer Patient Coalition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B0A7EC-A980-4D60-9D41-1AA41350943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0075A0D-1D53-4B86-B742-819DB7EDAA6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86065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ide Text Picture Magent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0"/>
            <a:ext cx="4525963" cy="5143500"/>
          </a:xfrm>
          <a:prstGeom prst="rect">
            <a:avLst/>
          </a:prstGeom>
          <a:solidFill>
            <a:srgbClr val="B2D1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09651" y="508350"/>
            <a:ext cx="3706978" cy="385791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3200" baseline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5E88F106-CA8A-49DB-9618-FBED0F4B1FF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b="1"/>
              <a:t>European Cancer Patient Coalition</a:t>
            </a:r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947B04F-06A3-4A6A-A074-E10490712E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0075A0D-1D53-4B86-B742-819DB7EDAA6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813316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ide Text Picture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0"/>
            <a:ext cx="3170581" cy="5143500"/>
          </a:xfrm>
          <a:prstGeom prst="rect">
            <a:avLst/>
          </a:prstGeom>
          <a:solidFill>
            <a:srgbClr val="014D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98174" y="508350"/>
            <a:ext cx="2544417" cy="385791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3200" baseline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D7AD165-7E73-4D46-9634-B3EADC166B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b="1"/>
              <a:t>European Cancer Patient Coalition</a:t>
            </a:r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2885F9E-2966-4CB0-BF89-C83C49F2302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0075A0D-1D53-4B86-B742-819DB7EDAA6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73043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ide Text Pictur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0"/>
            <a:ext cx="3160642" cy="5143500"/>
          </a:xfrm>
          <a:prstGeom prst="rect">
            <a:avLst/>
          </a:prstGeom>
          <a:solidFill>
            <a:srgbClr val="86AB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88234" y="508350"/>
            <a:ext cx="2653748" cy="385791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3200" baseline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22B14BF-11EE-44DC-A5AE-11C1F68DE57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b="1"/>
              <a:t>European Cancer Patient Coalition</a:t>
            </a:r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9DC438A-786D-4C59-8881-EF740777F25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0075A0D-1D53-4B86-B742-819DB7EDAA6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80058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Placeholder 4"/>
          <p:cNvSpPr>
            <a:spLocks noGrp="1"/>
          </p:cNvSpPr>
          <p:nvPr>
            <p:ph type="title"/>
          </p:nvPr>
        </p:nvSpPr>
        <p:spPr>
          <a:xfrm>
            <a:off x="457200" y="311078"/>
            <a:ext cx="8229600" cy="54927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marL="0" lvl="0" indent="0" algn="l">
              <a:spcBef>
                <a:spcPct val="20000"/>
              </a:spcBef>
              <a:buFont typeface="Arial" pitchFamily="34" charset="0"/>
            </a:pPr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B6D59C4-B1C8-41BC-920D-C3AE70919B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 b="1"/>
              <a:t>European Cancer Patient Coalition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D7342E-2E07-4D69-876D-4E6A58307D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9278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0075A0D-1D53-4B86-B742-819DB7EDAA6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31040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6" r:id="rId1"/>
    <p:sldLayoutId id="2147484367" r:id="rId2"/>
    <p:sldLayoutId id="2147484368" r:id="rId3"/>
    <p:sldLayoutId id="2147484369" r:id="rId4"/>
    <p:sldLayoutId id="2147484370" r:id="rId5"/>
    <p:sldLayoutId id="2147484371" r:id="rId6"/>
    <p:sldLayoutId id="2147484372" r:id="rId7"/>
    <p:sldLayoutId id="2147484373" r:id="rId8"/>
    <p:sldLayoutId id="2147484374" r:id="rId9"/>
    <p:sldLayoutId id="2147484375" r:id="rId10"/>
    <p:sldLayoutId id="2147484376" r:id="rId11"/>
    <p:sldLayoutId id="2147484377" r:id="rId12"/>
    <p:sldLayoutId id="2147484378" r:id="rId13"/>
    <p:sldLayoutId id="2147484379" r:id="rId14"/>
    <p:sldLayoutId id="2147484232" r:id="rId15"/>
    <p:sldLayoutId id="2147484233" r:id="rId16"/>
    <p:sldLayoutId id="2147484234" r:id="rId17"/>
    <p:sldLayoutId id="2147484236" r:id="rId18"/>
    <p:sldLayoutId id="2147484333" r:id="rId19"/>
  </p:sldLayoutIdLst>
  <p:hf hdr="0" dt="0"/>
  <p:txStyles>
    <p:titleStyle>
      <a:lvl1pPr algn="l" defTabSz="914293" rtl="0" eaLnBrk="1" latinLnBrk="0" hangingPunct="1">
        <a:spcBef>
          <a:spcPct val="0"/>
        </a:spcBef>
        <a:buNone/>
        <a:defRPr lang="en-US" sz="2400" b="1" i="0" kern="1200" baseline="0" smtClean="0">
          <a:solidFill>
            <a:schemeClr val="tx2"/>
          </a:solidFill>
          <a:latin typeface="+mj-lt"/>
          <a:ea typeface="+mn-ea"/>
          <a:cs typeface="Arial" pitchFamily="34" charset="0"/>
        </a:defRPr>
      </a:lvl1pPr>
    </p:titleStyle>
    <p:bodyStyle>
      <a:lvl1pPr marL="0" indent="0" algn="l" defTabSz="914293" rtl="0" eaLnBrk="1" latinLnBrk="0" hangingPunct="1">
        <a:spcBef>
          <a:spcPts val="0"/>
        </a:spcBef>
        <a:buFont typeface="Arial" pitchFamily="34" charset="0"/>
        <a:buNone/>
        <a:defRPr lang="en-US" sz="1600" b="1" i="1" kern="1200" dirty="0" smtClean="0">
          <a:solidFill>
            <a:schemeClr val="tx1"/>
          </a:solidFill>
          <a:latin typeface="Arial" pitchFamily="34" charset="0"/>
          <a:ea typeface="+mn-ea"/>
          <a:cs typeface="+mn-cs"/>
        </a:defRPr>
      </a:lvl1pPr>
      <a:lvl2pPr marL="171429" indent="0" algn="l" defTabSz="914293" rtl="0" eaLnBrk="1" latinLnBrk="0" hangingPunct="1">
        <a:spcBef>
          <a:spcPct val="20000"/>
        </a:spcBef>
        <a:buFont typeface="Arial" pitchFamily="34" charset="0"/>
        <a:buNone/>
        <a:defRPr lang="en-US" sz="1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85720" indent="0" algn="l" defTabSz="914293" rtl="0" eaLnBrk="1" latinLnBrk="0" hangingPunct="1">
        <a:spcBef>
          <a:spcPct val="20000"/>
        </a:spcBef>
        <a:buFont typeface="Arial" pitchFamily="34" charset="0"/>
        <a:buNone/>
        <a:defRPr lang="en-US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142867" indent="0" algn="l" defTabSz="914293" rtl="0" eaLnBrk="1" latinLnBrk="0" hangingPunct="1">
        <a:spcBef>
          <a:spcPct val="20000"/>
        </a:spcBef>
        <a:buFont typeface="Arial" pitchFamily="34" charset="0"/>
        <a:buNone/>
        <a:defRPr lang="en-US" sz="18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600013" indent="0" algn="l" defTabSz="914293" rtl="0" eaLnBrk="1" latinLnBrk="0" hangingPunct="1">
        <a:spcBef>
          <a:spcPct val="20000"/>
        </a:spcBef>
        <a:buFont typeface="Arial" pitchFamily="34" charset="0"/>
        <a:buNone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306" indent="-228573" algn="l" defTabSz="91429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53" indent="-228573" algn="l" defTabSz="91429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599" indent="-228573" algn="l" defTabSz="91429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46" indent="-228573" algn="l" defTabSz="91429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3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9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2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72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linkedin.com/company/european-cancer-patient-coalition/" TargetMode="External"/><Relationship Id="rId13" Type="http://schemas.openxmlformats.org/officeDocument/2006/relationships/image" Target="../media/image14.png"/><Relationship Id="rId3" Type="http://schemas.openxmlformats.org/officeDocument/2006/relationships/image" Target="../media/image8.png"/><Relationship Id="rId7" Type="http://schemas.openxmlformats.org/officeDocument/2006/relationships/image" Target="../media/image11.svg"/><Relationship Id="rId12" Type="http://schemas.openxmlformats.org/officeDocument/2006/relationships/hyperlink" Target="mailto:info@ecpc.org" TargetMode="External"/><Relationship Id="rId2" Type="http://schemas.openxmlformats.org/officeDocument/2006/relationships/hyperlink" Target="https://www.facebook.com/ECPCfb/" TargetMode="Externa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png"/><Relationship Id="rId11" Type="http://schemas.openxmlformats.org/officeDocument/2006/relationships/hyperlink" Target="http://www.ecpc.org/" TargetMode="External"/><Relationship Id="rId5" Type="http://schemas.openxmlformats.org/officeDocument/2006/relationships/hyperlink" Target="https://twitter.com/cancereu" TargetMode="External"/><Relationship Id="rId10" Type="http://schemas.openxmlformats.org/officeDocument/2006/relationships/image" Target="../media/image13.svg"/><Relationship Id="rId4" Type="http://schemas.openxmlformats.org/officeDocument/2006/relationships/image" Target="../media/image9.svg"/><Relationship Id="rId9" Type="http://schemas.openxmlformats.org/officeDocument/2006/relationships/image" Target="../media/image12.png"/><Relationship Id="rId14" Type="http://schemas.openxmlformats.org/officeDocument/2006/relationships/image" Target="../media/image15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D43A5DA-2E50-4945-8E53-5BDAC82D9B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7754" y="1210004"/>
            <a:ext cx="7848491" cy="2059101"/>
          </a:xfrm>
        </p:spPr>
        <p:txBody>
          <a:bodyPr/>
          <a:lstStyle/>
          <a:p>
            <a:r>
              <a:rPr lang="en-US" sz="4400" dirty="0">
                <a:solidFill>
                  <a:srgbClr val="014D8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igital Health in Cancer Care</a:t>
            </a:r>
            <a:br>
              <a:rPr lang="en-US" sz="4400" dirty="0">
                <a:solidFill>
                  <a:srgbClr val="014D8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</a:br>
            <a:endParaRPr lang="en-US" sz="4400" dirty="0">
              <a:solidFill>
                <a:srgbClr val="014D8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1B126738-6421-4D3E-B1D9-783D6628D21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7754" y="2860646"/>
            <a:ext cx="7673495" cy="1334920"/>
          </a:xfrm>
        </p:spPr>
        <p:txBody>
          <a:bodyPr/>
          <a:lstStyle/>
          <a:p>
            <a:r>
              <a:rPr lang="en-GB" sz="1800" i="0" dirty="0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tional Cancer Plan for Public Health – </a:t>
            </a:r>
            <a:r>
              <a:rPr lang="en-GB" sz="1800" i="0" dirty="0" err="1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elleniic</a:t>
            </a:r>
            <a:r>
              <a:rPr lang="en-GB" sz="1800" i="0" dirty="0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French Strategic Alliance</a:t>
            </a:r>
            <a:endParaRPr lang="en-GB" sz="1800" i="0" dirty="0">
              <a:solidFill>
                <a:schemeClr val="accent3">
                  <a:lumMod val="75000"/>
                </a:schemeClr>
              </a:solidFill>
            </a:endParaRPr>
          </a:p>
          <a:p>
            <a:endParaRPr lang="en-GB" i="0" dirty="0">
              <a:solidFill>
                <a:srgbClr val="B1D136"/>
              </a:solidFill>
            </a:endParaRPr>
          </a:p>
          <a:p>
            <a:endParaRPr lang="en-GB" i="0" dirty="0">
              <a:solidFill>
                <a:srgbClr val="B1D136"/>
              </a:solidFill>
            </a:endParaRPr>
          </a:p>
          <a:p>
            <a:r>
              <a:rPr lang="en-GB" sz="1200" i="0" dirty="0">
                <a:solidFill>
                  <a:srgbClr val="014D89"/>
                </a:solidFill>
              </a:rPr>
              <a:t>Kathi </a:t>
            </a:r>
            <a:r>
              <a:rPr lang="en-GB" sz="1200" i="0" dirty="0" err="1">
                <a:solidFill>
                  <a:srgbClr val="014D89"/>
                </a:solidFill>
              </a:rPr>
              <a:t>Apostolidlis</a:t>
            </a:r>
            <a:r>
              <a:rPr lang="en-GB" sz="1200" i="0" dirty="0">
                <a:solidFill>
                  <a:srgbClr val="014D89"/>
                </a:solidFill>
              </a:rPr>
              <a:t> – President – ECPC – European Cancer Patient Coalition</a:t>
            </a:r>
          </a:p>
          <a:p>
            <a:r>
              <a:rPr lang="en-GB" sz="1200" i="0" dirty="0">
                <a:solidFill>
                  <a:srgbClr val="014D89"/>
                </a:solidFill>
              </a:rPr>
              <a:t>President – Hellenic Cancer Federation - ELLOK</a:t>
            </a:r>
          </a:p>
        </p:txBody>
      </p:sp>
      <p:pic>
        <p:nvPicPr>
          <p:cNvPr id="21" name="Picture 20" descr="A close up of a logo&#10;&#10;Description automatically generated">
            <a:extLst>
              <a:ext uri="{FF2B5EF4-FFF2-40B4-BE49-F238E27FC236}">
                <a16:creationId xmlns:a16="http://schemas.microsoft.com/office/drawing/2014/main" id="{4947B41B-8075-4186-8C14-A93D6DD9BB8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2986" y="4648572"/>
            <a:ext cx="1483029" cy="365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93702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9FB0092-9833-4457-862F-72AE5BD320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b="1"/>
              <a:t>European Cancer Patient Coalition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6296C7-202F-4D94-9186-A6F17730E8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0075A0D-1D53-4B86-B742-819DB7EDAA6D}" type="slidenum">
              <a:rPr lang="en-GB" smtClean="0"/>
              <a:t>2</a:t>
            </a:fld>
            <a:endParaRPr lang="en-GB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AE23035-B367-40D6-924A-033C9595D0D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476106"/>
            <a:ext cx="9144000" cy="40299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00832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F00301-86AE-4751-8A53-43DB3E454B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01600"/>
            <a:ext cx="8229600" cy="549278"/>
          </a:xfrm>
        </p:spPr>
        <p:txBody>
          <a:bodyPr/>
          <a:lstStyle/>
          <a:p>
            <a:r>
              <a:rPr lang="en-GB" sz="2800" spc="100" dirty="0">
                <a:solidFill>
                  <a:srgbClr val="014D8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igital Transformation in Cancer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0F0C576-F555-4874-BFF1-485A87EB91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b="1"/>
              <a:t>European Cancer Patient Coalition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646CE2-904B-4DFC-9AA7-C6768C55A7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0075A0D-1D53-4B86-B742-819DB7EDAA6D}" type="slidenum">
              <a:rPr lang="en-GB" smtClean="0"/>
              <a:t>3</a:t>
            </a:fld>
            <a:endParaRPr lang="en-GB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968A7CD-2D83-449A-BB48-ADDDB516C503}"/>
              </a:ext>
            </a:extLst>
          </p:cNvPr>
          <p:cNvSpPr txBox="1"/>
          <p:nvPr/>
        </p:nvSpPr>
        <p:spPr>
          <a:xfrm>
            <a:off x="457200" y="650878"/>
            <a:ext cx="7898234" cy="67403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wo emblematic actions: the EU Cancer Plan  and the Cancer Mission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en-US" b="1" dirty="0">
              <a:solidFill>
                <a:schemeClr val="accent3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en-US" sz="1800" b="1" i="1" u="none" strike="noStrike" baseline="0" dirty="0">
                <a:solidFill>
                  <a:srgbClr val="004F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lagship initiatives on research, innovation and </a:t>
            </a:r>
            <a:r>
              <a:rPr lang="en-US" sz="1800" b="1" i="1" u="none" strike="noStrike" baseline="0" dirty="0" err="1">
                <a:solidFill>
                  <a:srgbClr val="004F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gitalisation</a:t>
            </a:r>
            <a:r>
              <a:rPr lang="en-US" sz="1800" b="1" i="1" u="none" strike="noStrike" baseline="0" dirty="0">
                <a:solidFill>
                  <a:srgbClr val="004F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US" sz="1800" b="0" i="0" u="none" strike="noStrike" baseline="0" dirty="0">
              <a:solidFill>
                <a:srgbClr val="004F6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1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nowledge Centre on Cancer </a:t>
            </a:r>
            <a:r>
              <a:rPr lang="en-US" sz="1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 facilitate the coordination of scientific and technical cancer-related initiatives at EU level – 2021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aunch a </a:t>
            </a:r>
            <a:r>
              <a:rPr lang="en-US" sz="1800" b="1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uropean Cancer Imaging Initiative </a:t>
            </a:r>
            <a:r>
              <a:rPr lang="en-US" sz="1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 support the development of new computer-aided tools to improve </a:t>
            </a:r>
            <a:r>
              <a:rPr lang="en-US" sz="1800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ersonalised</a:t>
            </a:r>
            <a:r>
              <a:rPr lang="en-US" sz="1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medicine and innovative solutions – 2022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U Health Data Space</a:t>
            </a:r>
            <a:endParaRPr lang="en-US" sz="1800" b="0" i="0" u="none" strike="noStrike" baseline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1800" b="0" i="0" u="none" strike="noStrike" baseline="0" dirty="0">
              <a:solidFill>
                <a:schemeClr val="accent3">
                  <a:lumMod val="75000"/>
                </a:schemeClr>
              </a:solidFill>
              <a:latin typeface="Times New Roman" panose="02020603050405020304" pitchFamily="18" charset="0"/>
            </a:endParaRPr>
          </a:p>
          <a:p>
            <a:r>
              <a:rPr lang="en-US" sz="1800" b="1" i="1" u="none" strike="noStrike" baseline="0" dirty="0">
                <a:solidFill>
                  <a:srgbClr val="014D8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ther actions </a:t>
            </a:r>
            <a:endParaRPr lang="en-US" i="1" dirty="0">
              <a:solidFill>
                <a:srgbClr val="014D8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</a:t>
            </a:r>
            <a:r>
              <a:rPr lang="en-US" sz="1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ctronic health records for prevention and treatment across borders through                 the European Health Data Space – 2021-2025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uropean Cancer Information System – 2021-202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uropean Health Data Space</a:t>
            </a:r>
            <a:r>
              <a:rPr lang="en-US" sz="1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marL="285750" indent="-285750">
              <a:buSzPct val="106000"/>
              <a:buFont typeface="Arial" panose="020B0604020202020204" pitchFamily="34" charset="0"/>
              <a:buChar char="•"/>
            </a:pPr>
            <a:endParaRPr lang="en-US" sz="1800" b="0" i="0" u="none" strike="noStrike" baseline="0" dirty="0">
              <a:solidFill>
                <a:srgbClr val="000000"/>
              </a:solidFill>
              <a:latin typeface="Times New Roman" panose="02020603050405020304" pitchFamily="18" charset="0"/>
            </a:endParaRPr>
          </a:p>
          <a:p>
            <a:r>
              <a:rPr lang="en-US" sz="1800" b="0" i="0" u="none" strike="noStrike" baseline="0" dirty="0">
                <a:solidFill>
                  <a:srgbClr val="000000"/>
                </a:solidFill>
                <a:latin typeface="Times New Roman" panose="02020603050405020304" pitchFamily="18" charset="0"/>
              </a:rPr>
              <a:t>	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>
              <a:solidFill>
                <a:schemeClr val="accent3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lang="en-US" b="1" dirty="0">
              <a:solidFill>
                <a:schemeClr val="accent3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lang="en-US" b="1" dirty="0">
              <a:solidFill>
                <a:schemeClr val="accent3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lang="en-US" b="1" dirty="0">
              <a:solidFill>
                <a:schemeClr val="accent3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lang="en-US" b="1" dirty="0">
              <a:solidFill>
                <a:schemeClr val="accent3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lang="en-US" b="1" dirty="0">
              <a:solidFill>
                <a:schemeClr val="accent3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lang="en-US" b="1" dirty="0">
              <a:solidFill>
                <a:schemeClr val="accent3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26943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AB17CB-0619-4D14-AC55-D6531BCE5B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1CB81CF-434E-4C85-B027-6FC8F023E9B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b="1"/>
              <a:t>European Cancer Patient Coalition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B1D23B-DB75-4F20-B9DE-32A5DBFDFBE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0075A0D-1D53-4B86-B742-819DB7EDAA6D}" type="slidenum">
              <a:rPr lang="en-GB" smtClean="0"/>
              <a:t>4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E63352D-A652-408B-B427-69F9185F77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247496"/>
            <a:ext cx="4513277" cy="264850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4C5319B-B6D1-4476-BE6F-05FC521EBC5D}"/>
              </a:ext>
            </a:extLst>
          </p:cNvPr>
          <p:cNvSpPr txBox="1"/>
          <p:nvPr/>
        </p:nvSpPr>
        <p:spPr>
          <a:xfrm>
            <a:off x="4572000" y="444863"/>
            <a:ext cx="4513276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The Promise of Digital Transformation </a:t>
            </a:r>
          </a:p>
          <a:p>
            <a:pPr algn="ctr"/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of Health and Care</a:t>
            </a:r>
          </a:p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Empower citizens and build a healthier society</a:t>
            </a:r>
          </a:p>
          <a:p>
            <a:pPr algn="ctr"/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Digital Transformation 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offering the tools 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for </a:t>
            </a:r>
          </a:p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Improved, evidenced, faster, more accessible cancer care but</a:t>
            </a:r>
          </a:p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b="1" dirty="0">
                <a:solidFill>
                  <a:srgbClr val="B71C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ncer Care depends on personal contact of the patients with his physician</a:t>
            </a:r>
          </a:p>
        </p:txBody>
      </p:sp>
      <p:sp>
        <p:nvSpPr>
          <p:cNvPr id="8" name="Arrow: Down 7">
            <a:extLst>
              <a:ext uri="{FF2B5EF4-FFF2-40B4-BE49-F238E27FC236}">
                <a16:creationId xmlns:a16="http://schemas.microsoft.com/office/drawing/2014/main" id="{698E4E7E-04CF-47B2-AF18-D144511EE062}"/>
              </a:ext>
            </a:extLst>
          </p:cNvPr>
          <p:cNvSpPr/>
          <p:nvPr/>
        </p:nvSpPr>
        <p:spPr>
          <a:xfrm>
            <a:off x="6776715" y="1133843"/>
            <a:ext cx="302270" cy="41944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1231170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CB103F-2615-42B1-8615-A4300361F1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508350"/>
            <a:ext cx="4471332" cy="3857910"/>
          </a:xfrm>
        </p:spPr>
        <p:txBody>
          <a:bodyPr/>
          <a:lstStyle/>
          <a:p>
            <a:r>
              <a:rPr lang="en-GB" dirty="0"/>
              <a:t> Driving adoption </a:t>
            </a:r>
            <a:br>
              <a:rPr lang="en-GB" dirty="0"/>
            </a:br>
            <a:r>
              <a:rPr lang="en-GB" dirty="0"/>
              <a:t>of  digital health solutions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B20DAE8-74C5-434E-8F33-E925DDE5336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b="1"/>
              <a:t>European Cancer Patient Coalition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C17C91-75F3-4E5E-BAD1-CCC030D833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0075A0D-1D53-4B86-B742-819DB7EDAA6D}" type="slidenum">
              <a:rPr lang="en-GB" smtClean="0"/>
              <a:t>5</a:t>
            </a:fld>
            <a:endParaRPr lang="en-GB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DDA2DCC-E988-4712-950A-3BF5318072FF}"/>
              </a:ext>
            </a:extLst>
          </p:cNvPr>
          <p:cNvSpPr txBox="1"/>
          <p:nvPr/>
        </p:nvSpPr>
        <p:spPr>
          <a:xfrm>
            <a:off x="4692185" y="382896"/>
            <a:ext cx="4471330" cy="41088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b="1" dirty="0">
                <a:solidFill>
                  <a:srgbClr val="004F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eeping the patient at the </a:t>
            </a:r>
            <a:r>
              <a:rPr lang="en-US" b="1" dirty="0" err="1">
                <a:solidFill>
                  <a:srgbClr val="004F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entre</a:t>
            </a:r>
            <a:endParaRPr lang="en-US" b="1" dirty="0">
              <a:solidFill>
                <a:srgbClr val="004F6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b="1" dirty="0">
                <a:solidFill>
                  <a:srgbClr val="004F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nderstanding the role of regulatory frameworks and policies</a:t>
            </a:r>
          </a:p>
          <a:p>
            <a:pPr marL="342900" indent="-342900" algn="l">
              <a:lnSpc>
                <a:spcPct val="150000"/>
              </a:lnSpc>
              <a:buFont typeface="+mj-lt"/>
              <a:buAutoNum type="arabicPeriod"/>
            </a:pPr>
            <a:r>
              <a:rPr lang="en-US" b="1" dirty="0">
                <a:solidFill>
                  <a:srgbClr val="004F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volving patients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b="1" dirty="0">
                <a:solidFill>
                  <a:srgbClr val="004F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apt to local conditions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b="1" dirty="0">
                <a:solidFill>
                  <a:srgbClr val="004F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acilitate multistakeholder engagement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b="1" dirty="0">
                <a:solidFill>
                  <a:srgbClr val="004F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ostering training and capacity building of human resources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b="1" dirty="0">
                <a:solidFill>
                  <a:srgbClr val="004F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ressing data governance </a:t>
            </a:r>
          </a:p>
          <a:p>
            <a:pPr marL="342900" indent="-342900">
              <a:buAutoNum type="arabicPeriod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5284123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0F0E3B5-F411-4F4A-9032-AD742D2877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028700"/>
            <a:ext cx="2877671" cy="3771900"/>
          </a:xfrm>
        </p:spPr>
        <p:txBody>
          <a:bodyPr/>
          <a:lstStyle/>
          <a:p>
            <a:pPr marL="341313" indent="-341313">
              <a:buNone/>
            </a:pPr>
            <a:r>
              <a:rPr lang="en-US" dirty="0"/>
              <a:t>1.	</a:t>
            </a:r>
            <a:r>
              <a:rPr lang="en-US" i="0" dirty="0">
                <a:latin typeface="Calibri" panose="020F0502020204030204" pitchFamily="34" charset="0"/>
                <a:cs typeface="Calibri" panose="020F0502020204030204" pitchFamily="34" charset="0"/>
              </a:rPr>
              <a:t>Privacy </a:t>
            </a:r>
          </a:p>
          <a:p>
            <a:pPr marL="341313" indent="-341313">
              <a:buNone/>
            </a:pPr>
            <a:r>
              <a:rPr lang="en-US" i="0" dirty="0">
                <a:latin typeface="Calibri" panose="020F0502020204030204" pitchFamily="34" charset="0"/>
                <a:cs typeface="Calibri" panose="020F0502020204030204" pitchFamily="34" charset="0"/>
              </a:rPr>
              <a:t>2.	Transparency </a:t>
            </a:r>
          </a:p>
          <a:p>
            <a:pPr marL="341313" indent="-341313">
              <a:buNone/>
            </a:pPr>
            <a:r>
              <a:rPr lang="en-US" i="0" dirty="0">
                <a:latin typeface="Calibri" panose="020F0502020204030204" pitchFamily="34" charset="0"/>
                <a:cs typeface="Calibri" panose="020F0502020204030204" pitchFamily="34" charset="0"/>
              </a:rPr>
              <a:t>3.	Safety</a:t>
            </a:r>
          </a:p>
          <a:p>
            <a:pPr marL="341313" indent="-341313">
              <a:buNone/>
            </a:pPr>
            <a:r>
              <a:rPr lang="en-US" i="0" dirty="0">
                <a:latin typeface="Calibri" panose="020F0502020204030204" pitchFamily="34" charset="0"/>
                <a:cs typeface="Calibri" panose="020F0502020204030204" pitchFamily="34" charset="0"/>
              </a:rPr>
              <a:t>4.	Reliability</a:t>
            </a:r>
          </a:p>
          <a:p>
            <a:pPr marL="341313" indent="-341313">
              <a:buNone/>
            </a:pPr>
            <a:r>
              <a:rPr lang="en-US" i="0" dirty="0">
                <a:latin typeface="Calibri" panose="020F0502020204030204" pitchFamily="34" charset="0"/>
                <a:cs typeface="Calibri" panose="020F0502020204030204" pitchFamily="34" charset="0"/>
              </a:rPr>
              <a:t>5.	Validity </a:t>
            </a:r>
          </a:p>
          <a:p>
            <a:pPr marL="341313" indent="-341313">
              <a:buNone/>
            </a:pPr>
            <a:r>
              <a:rPr lang="en-US" i="0" dirty="0">
                <a:latin typeface="Calibri" panose="020F0502020204030204" pitchFamily="34" charset="0"/>
                <a:cs typeface="Calibri" panose="020F0502020204030204" pitchFamily="34" charset="0"/>
              </a:rPr>
              <a:t>6.	Interoperability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C538D6B-F512-4751-8252-DE06A40BA4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US" dirty="0"/>
              <a:t> </a:t>
            </a:r>
            <a:r>
              <a:rPr lang="en-US" dirty="0">
                <a:solidFill>
                  <a:srgbClr val="004F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hat patients &amp; health stakeholders </a:t>
            </a:r>
            <a:br>
              <a:rPr lang="en-US" dirty="0">
                <a:solidFill>
                  <a:srgbClr val="004F6F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dirty="0">
                <a:solidFill>
                  <a:srgbClr val="004F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pect from </a:t>
            </a:r>
            <a:r>
              <a:rPr lang="en-US" dirty="0" err="1">
                <a:solidFill>
                  <a:srgbClr val="004F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health</a:t>
            </a:r>
            <a:r>
              <a:rPr lang="en-US" dirty="0">
                <a:solidFill>
                  <a:srgbClr val="004F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pp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E3A5B88-4293-4D88-9B6D-7BE2473A11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b="1"/>
              <a:t>European Cancer Patient Coalition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1016D9-3A77-4F72-ADCA-059979C9AE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0075A0D-1D53-4B86-B742-819DB7EDAA6D}" type="slidenum">
              <a:rPr lang="en-GB" smtClean="0"/>
              <a:t>6</a:t>
            </a:fld>
            <a:endParaRPr lang="en-GB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092BA74-8CDD-411F-ACE1-FC0716802F5D}"/>
              </a:ext>
            </a:extLst>
          </p:cNvPr>
          <p:cNvSpPr txBox="1"/>
          <p:nvPr/>
        </p:nvSpPr>
        <p:spPr>
          <a:xfrm>
            <a:off x="3953435" y="1138518"/>
            <a:ext cx="3281083" cy="32778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lnSpc>
                <a:spcPct val="150000"/>
              </a:lnSpc>
              <a:buNone/>
            </a:pPr>
            <a:r>
              <a:rPr lang="en-US" dirty="0"/>
              <a:t>7.</a:t>
            </a:r>
            <a:r>
              <a:rPr lang="en-US" b="1" dirty="0"/>
              <a:t>	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Technical stability</a:t>
            </a:r>
          </a:p>
          <a:p>
            <a:pPr marL="457200" indent="-457200">
              <a:lnSpc>
                <a:spcPct val="150000"/>
              </a:lnSpc>
              <a:buNone/>
            </a:pP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8.	Effectiveness</a:t>
            </a:r>
          </a:p>
          <a:p>
            <a:pPr marL="457200" indent="-457200">
              <a:lnSpc>
                <a:spcPct val="150000"/>
              </a:lnSpc>
              <a:buNone/>
            </a:pP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9.	Efficacy</a:t>
            </a:r>
          </a:p>
          <a:p>
            <a:pPr marL="457200" indent="-457200">
              <a:lnSpc>
                <a:spcPct val="150000"/>
              </a:lnSpc>
              <a:buNone/>
            </a:pP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10.	Efficiency</a:t>
            </a:r>
          </a:p>
          <a:p>
            <a:pPr marL="457200" indent="-457200">
              <a:lnSpc>
                <a:spcPct val="150000"/>
              </a:lnSpc>
              <a:buNone/>
            </a:pP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11.	Accessibility</a:t>
            </a:r>
          </a:p>
          <a:p>
            <a:pPr marL="457200" indent="-457200">
              <a:lnSpc>
                <a:spcPct val="150000"/>
              </a:lnSpc>
              <a:buNone/>
            </a:pP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12.	Usability/desirability</a:t>
            </a:r>
          </a:p>
          <a:p>
            <a:pPr marL="457200" indent="-457200">
              <a:lnSpc>
                <a:spcPct val="150000"/>
              </a:lnSpc>
              <a:buNone/>
            </a:pP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13.	Scalability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6129767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AD26EBD8-2725-450C-986F-EE47E22F265F}"/>
              </a:ext>
            </a:extLst>
          </p:cNvPr>
          <p:cNvSpPr/>
          <p:nvPr/>
        </p:nvSpPr>
        <p:spPr>
          <a:xfrm>
            <a:off x="2889645" y="3638812"/>
            <a:ext cx="3364707" cy="1224152"/>
          </a:xfrm>
          <a:prstGeom prst="roundRect">
            <a:avLst>
              <a:gd name="adj" fmla="val 5310"/>
            </a:avLst>
          </a:prstGeom>
          <a:solidFill>
            <a:srgbClr val="014D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B45D665-F107-437E-A759-5284CC3EDB13}"/>
              </a:ext>
            </a:extLst>
          </p:cNvPr>
          <p:cNvSpPr txBox="1"/>
          <p:nvPr/>
        </p:nvSpPr>
        <p:spPr>
          <a:xfrm>
            <a:off x="1720532" y="722137"/>
            <a:ext cx="53485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r-HR" b="1" dirty="0">
                <a:solidFill>
                  <a:srgbClr val="014D89"/>
                </a:solidFill>
              </a:rPr>
              <a:t>Thank you!</a:t>
            </a:r>
            <a:endParaRPr lang="en-GB" b="1" dirty="0">
              <a:solidFill>
                <a:srgbClr val="014D89"/>
              </a:solidFill>
            </a:endParaRPr>
          </a:p>
        </p:txBody>
      </p:sp>
      <p:pic>
        <p:nvPicPr>
          <p:cNvPr id="11" name="Graphic 10">
            <a:hlinkClick r:id="rId2"/>
            <a:extLst>
              <a:ext uri="{FF2B5EF4-FFF2-40B4-BE49-F238E27FC236}">
                <a16:creationId xmlns:a16="http://schemas.microsoft.com/office/drawing/2014/main" id="{C2F36788-6911-4A3C-A8D6-A6FC763CC0D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178818" y="1811237"/>
            <a:ext cx="290125" cy="290125"/>
          </a:xfrm>
          <a:prstGeom prst="rect">
            <a:avLst/>
          </a:prstGeom>
        </p:spPr>
      </p:pic>
      <p:pic>
        <p:nvPicPr>
          <p:cNvPr id="13" name="Graphic 12">
            <a:hlinkClick r:id="rId5"/>
            <a:extLst>
              <a:ext uri="{FF2B5EF4-FFF2-40B4-BE49-F238E27FC236}">
                <a16:creationId xmlns:a16="http://schemas.microsoft.com/office/drawing/2014/main" id="{0A852358-D344-47F5-A39C-62460B961B2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178818" y="2232508"/>
            <a:ext cx="290125" cy="290125"/>
          </a:xfrm>
          <a:prstGeom prst="rect">
            <a:avLst/>
          </a:prstGeom>
        </p:spPr>
      </p:pic>
      <p:pic>
        <p:nvPicPr>
          <p:cNvPr id="15" name="Graphic 14">
            <a:hlinkClick r:id="rId8"/>
            <a:extLst>
              <a:ext uri="{FF2B5EF4-FFF2-40B4-BE49-F238E27FC236}">
                <a16:creationId xmlns:a16="http://schemas.microsoft.com/office/drawing/2014/main" id="{117E0377-0E73-4B27-A992-739225292D0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178817" y="2690120"/>
            <a:ext cx="290125" cy="290125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96C69EE2-1681-4CD6-B98C-E350B4D71DFF}"/>
              </a:ext>
            </a:extLst>
          </p:cNvPr>
          <p:cNvSpPr txBox="1"/>
          <p:nvPr/>
        </p:nvSpPr>
        <p:spPr>
          <a:xfrm>
            <a:off x="2889644" y="3743057"/>
            <a:ext cx="336470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European Cancer Patient Coalition </a:t>
            </a:r>
          </a:p>
          <a:p>
            <a:pPr algn="ctr"/>
            <a:r>
              <a:rPr lang="en-GB" sz="1000" dirty="0">
                <a:solidFill>
                  <a:schemeClr val="bg1"/>
                </a:solidFill>
              </a:rPr>
              <a:t>Avenue des Arts, 6</a:t>
            </a:r>
          </a:p>
          <a:p>
            <a:pPr algn="ctr"/>
            <a:r>
              <a:rPr lang="en-GB" sz="1000" dirty="0">
                <a:solidFill>
                  <a:schemeClr val="bg1"/>
                </a:solidFill>
              </a:rPr>
              <a:t>1210 Brussels, Belgium</a:t>
            </a:r>
          </a:p>
          <a:p>
            <a:pPr algn="ctr"/>
            <a:endParaRPr lang="en-GB" sz="1000" dirty="0">
              <a:solidFill>
                <a:schemeClr val="bg1"/>
              </a:solidFill>
            </a:endParaRPr>
          </a:p>
          <a:p>
            <a:pPr algn="ctr"/>
            <a:r>
              <a:rPr lang="en-GB" sz="1000" b="1" dirty="0">
                <a:solidFill>
                  <a:schemeClr val="bg1"/>
                </a:solidFill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ecpc.org</a:t>
            </a:r>
            <a:r>
              <a:rPr lang="en-GB" sz="1000" b="1" dirty="0">
                <a:solidFill>
                  <a:schemeClr val="bg1"/>
                </a:solidFill>
              </a:rPr>
              <a:t> I </a:t>
            </a:r>
            <a:r>
              <a:rPr lang="en-GB" sz="1000" b="1" dirty="0">
                <a:solidFill>
                  <a:schemeClr val="bg1"/>
                </a:solidFill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fo@ecpc.org</a:t>
            </a:r>
            <a:r>
              <a:rPr lang="en-GB" sz="1000" b="1" dirty="0">
                <a:solidFill>
                  <a:schemeClr val="bg1"/>
                </a:solidFill>
              </a:rPr>
              <a:t> I </a:t>
            </a:r>
            <a:r>
              <a:rPr lang="en-GB" sz="1000" dirty="0">
                <a:solidFill>
                  <a:schemeClr val="bg1"/>
                </a:solidFill>
              </a:rPr>
              <a:t>+ 32 (0) 2 721 41 14</a:t>
            </a:r>
          </a:p>
          <a:p>
            <a:pPr algn="ctr"/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A77C687-B21C-47FB-8D13-0E3DF8E4595E}"/>
              </a:ext>
            </a:extLst>
          </p:cNvPr>
          <p:cNvSpPr txBox="1"/>
          <p:nvPr/>
        </p:nvSpPr>
        <p:spPr>
          <a:xfrm>
            <a:off x="3582357" y="1816868"/>
            <a:ext cx="11908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>
                <a:solidFill>
                  <a:srgbClr val="014D89"/>
                </a:solidFill>
              </a:rPr>
              <a:t>@ECPCfb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30CC33D-122C-49A9-A40B-0FC21830B962}"/>
              </a:ext>
            </a:extLst>
          </p:cNvPr>
          <p:cNvSpPr txBox="1"/>
          <p:nvPr/>
        </p:nvSpPr>
        <p:spPr>
          <a:xfrm>
            <a:off x="3582356" y="2211806"/>
            <a:ext cx="11908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>
                <a:solidFill>
                  <a:srgbClr val="014D89"/>
                </a:solidFill>
              </a:rPr>
              <a:t>@cancereu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E3BFF0B-044E-4D42-86C0-E9B0180D4598}"/>
              </a:ext>
            </a:extLst>
          </p:cNvPr>
          <p:cNvSpPr txBox="1"/>
          <p:nvPr/>
        </p:nvSpPr>
        <p:spPr>
          <a:xfrm>
            <a:off x="3582356" y="2724062"/>
            <a:ext cx="27105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>
                <a:solidFill>
                  <a:srgbClr val="014D89"/>
                </a:solidFill>
              </a:rPr>
              <a:t>@european-cancer-patient-coalition</a:t>
            </a:r>
          </a:p>
        </p:txBody>
      </p:sp>
      <p:pic>
        <p:nvPicPr>
          <p:cNvPr id="8" name="Graphic 7" descr="Envelope">
            <a:extLst>
              <a:ext uri="{FF2B5EF4-FFF2-40B4-BE49-F238E27FC236}">
                <a16:creationId xmlns:a16="http://schemas.microsoft.com/office/drawing/2014/main" id="{2CE9286D-8068-42A8-B4BD-9C6E5A4D66CD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139212" y="3065659"/>
            <a:ext cx="369332" cy="36933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96D2557-87B6-42C4-B37D-7726044FC487}"/>
              </a:ext>
            </a:extLst>
          </p:cNvPr>
          <p:cNvSpPr txBox="1"/>
          <p:nvPr/>
        </p:nvSpPr>
        <p:spPr>
          <a:xfrm>
            <a:off x="3582356" y="3111825"/>
            <a:ext cx="27105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>
                <a:solidFill>
                  <a:srgbClr val="FF0000"/>
                </a:solidFill>
              </a:rPr>
              <a:t>Your email</a:t>
            </a:r>
          </a:p>
        </p:txBody>
      </p:sp>
    </p:spTree>
    <p:extLst>
      <p:ext uri="{BB962C8B-B14F-4D97-AF65-F5344CB8AC3E}">
        <p14:creationId xmlns:p14="http://schemas.microsoft.com/office/powerpoint/2010/main" val="34521901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ncology strategy template">
  <a:themeElements>
    <a:clrScheme name="ECPC">
      <a:dk1>
        <a:srgbClr val="5C514E"/>
      </a:dk1>
      <a:lt1>
        <a:srgbClr val="FFFFFF"/>
      </a:lt1>
      <a:dk2>
        <a:srgbClr val="000000"/>
      </a:dk2>
      <a:lt2>
        <a:srgbClr val="DAD5D4"/>
      </a:lt2>
      <a:accent1>
        <a:srgbClr val="86ABD8"/>
      </a:accent1>
      <a:accent2>
        <a:srgbClr val="014D89"/>
      </a:accent2>
      <a:accent3>
        <a:srgbClr val="B2D136"/>
      </a:accent3>
      <a:accent4>
        <a:srgbClr val="6E8415"/>
      </a:accent4>
      <a:accent5>
        <a:srgbClr val="0070C0"/>
      </a:accent5>
      <a:accent6>
        <a:srgbClr val="EB6B6F"/>
      </a:accent6>
      <a:hlink>
        <a:srgbClr val="B2D136"/>
      </a:hlink>
      <a:folHlink>
        <a:srgbClr val="ABABAB"/>
      </a:folHlink>
    </a:clrScheme>
    <a:fontScheme name="ECPC">
      <a:majorFont>
        <a:latin typeface="Roboto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DED20C37-91A7-47F0-8358-183A50EEAB02}" vid="{D5B38639-353C-4913-A94C-48D7DD4EF6F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C453C4E49AD8F43A52ADFC5B3F32387" ma:contentTypeVersion="11" ma:contentTypeDescription="Create a new document." ma:contentTypeScope="" ma:versionID="8caac5093a25df5dc24bc67a34375286">
  <xsd:schema xmlns:xsd="http://www.w3.org/2001/XMLSchema" xmlns:xs="http://www.w3.org/2001/XMLSchema" xmlns:p="http://schemas.microsoft.com/office/2006/metadata/properties" xmlns:ns2="f9573944-c1b5-454b-a5c5-e9491348cceb" xmlns:ns3="ed6ce22d-3882-427b-870e-ec2e8ca5b7fa" targetNamespace="http://schemas.microsoft.com/office/2006/metadata/properties" ma:root="true" ma:fieldsID="d3f983363a570a9682bbda026183eb59" ns2:_="" ns3:_="">
    <xsd:import namespace="f9573944-c1b5-454b-a5c5-e9491348cceb"/>
    <xsd:import namespace="ed6ce22d-3882-427b-870e-ec2e8ca5b7f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9573944-c1b5-454b-a5c5-e9491348cce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6ce22d-3882-427b-870e-ec2e8ca5b7fa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54A65646-A5C6-4CC5-8E09-5BC81D746932}">
  <ds:schemaRefs>
    <ds:schemaRef ds:uri="ed6ce22d-3882-427b-870e-ec2e8ca5b7fa"/>
    <ds:schemaRef ds:uri="f9573944-c1b5-454b-a5c5-e9491348cce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E72B4BF0-3DFA-4AEB-B4D5-50707F7680F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33CC4EE-7A80-4021-B059-3BBDC4F93BAA}">
  <ds:schemaRefs>
    <ds:schemaRef ds:uri="ed6ce22d-3882-427b-870e-ec2e8ca5b7fa"/>
    <ds:schemaRef ds:uri="f9573944-c1b5-454b-a5c5-e9491348cceb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8</TotalTime>
  <Words>447</Words>
  <Application>Microsoft Office PowerPoint</Application>
  <PresentationFormat>On-screen Show (16:9)</PresentationFormat>
  <Paragraphs>85</Paragraphs>
  <Slides>7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5" baseType="lpstr">
      <vt:lpstr>Arial</vt:lpstr>
      <vt:lpstr>Calibri</vt:lpstr>
      <vt:lpstr>Calibri Light</vt:lpstr>
      <vt:lpstr>Roboto</vt:lpstr>
      <vt:lpstr>Times New Roman</vt:lpstr>
      <vt:lpstr>Verdana</vt:lpstr>
      <vt:lpstr>2_oncology strategy template</vt:lpstr>
      <vt:lpstr>think-cell Slide</vt:lpstr>
      <vt:lpstr>Digital Health in Cancer Care </vt:lpstr>
      <vt:lpstr>PowerPoint Presentation</vt:lpstr>
      <vt:lpstr>Digital Transformation in Cancer </vt:lpstr>
      <vt:lpstr>PowerPoint Presentation</vt:lpstr>
      <vt:lpstr> Driving adoption  of  digital health solutions </vt:lpstr>
      <vt:lpstr> What patients &amp; health stakeholders  expect from mhealth app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Kathi Apostolidis</dc:creator>
  <cp:lastModifiedBy>Kathi Apostolidis</cp:lastModifiedBy>
  <cp:revision>4</cp:revision>
  <cp:lastPrinted>2019-07-22T08:57:59Z</cp:lastPrinted>
  <dcterms:created xsi:type="dcterms:W3CDTF">2022-04-12T21:19:22Z</dcterms:created>
  <dcterms:modified xsi:type="dcterms:W3CDTF">2022-04-13T10:44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7C453C4E49AD8F43A52ADFC5B3F32387</vt:lpwstr>
  </property>
</Properties>
</file>